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7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A1-40E7-AF8F-7E76FE02D8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A1-40E7-AF8F-7E76FE02D87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A1-40E7-AF8F-7E76FE02D87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3084879"/>
        <c:axId val="213085359"/>
      </c:barChart>
      <c:catAx>
        <c:axId val="2130848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5359"/>
        <c:crosses val="autoZero"/>
        <c:auto val="1"/>
        <c:lblAlgn val="ctr"/>
        <c:lblOffset val="100"/>
        <c:noMultiLvlLbl val="0"/>
      </c:catAx>
      <c:valAx>
        <c:axId val="2130853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4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17410-397D-9B32-0E4B-43B2B2CA3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497C23C1-9CBE-8AD5-9894-5DC736CAC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hart-Dominant Split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3A50CDD-ADAD-7781-0A3A-7CD7E407C8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2397097"/>
            <a:ext cx="5375970" cy="5647700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/>
              <a:t>Lorem </a:t>
            </a:r>
            <a:r>
              <a:rPr lang="en-US" altLang="ko-KR" sz="1900" dirty="0"/>
              <a:t>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</a:t>
            </a:r>
          </a:p>
        </p:txBody>
      </p:sp>
      <p:graphicFrame>
        <p:nvGraphicFramePr>
          <p:cNvPr id="8" name="Content Placeholder 10">
            <a:extLst>
              <a:ext uri="{FF2B5EF4-FFF2-40B4-BE49-F238E27FC236}">
                <a16:creationId xmlns:a16="http://schemas.microsoft.com/office/drawing/2014/main" id="{B0EA6611-9948-CB3D-162A-96A7A9323D84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502762"/>
          <a:ext cx="11026775" cy="6712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795FB0-A932-F7E4-24C7-CEF5222FD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9DDB998B-1154-B9E5-2B91-BF15877E17F5}"/>
              </a:ext>
            </a:extLst>
          </p:cNvPr>
          <p:cNvSpPr txBox="1">
            <a:spLocks/>
          </p:cNvSpPr>
          <p:nvPr/>
        </p:nvSpPr>
        <p:spPr>
          <a:xfrm>
            <a:off x="12197654" y="1889656"/>
            <a:ext cx="537597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95D19C49-FD28-32AA-C659-A7E60522820E}"/>
              </a:ext>
            </a:extLst>
          </p:cNvPr>
          <p:cNvSpPr txBox="1">
            <a:spLocks/>
          </p:cNvSpPr>
          <p:nvPr/>
        </p:nvSpPr>
        <p:spPr>
          <a:xfrm>
            <a:off x="714374" y="1889656"/>
            <a:ext cx="10715625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016847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0</TotalTime>
  <Words>130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hart-Dominant Split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95</cp:revision>
  <dcterms:created xsi:type="dcterms:W3CDTF">2006-08-16T00:00:00Z</dcterms:created>
  <dcterms:modified xsi:type="dcterms:W3CDTF">2025-10-06T09:02:53Z</dcterms:modified>
  <cp:category/>
  <dc:identifier>DAGkDf5R9EM</dc:identifier>
</cp:coreProperties>
</file>